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03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6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Mejorar la flexibilidad del proceso de la botella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Barras de cuarz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35EBDE-D6DC-450C-922E-5D28FFDEAC59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Instalación de una varilla de cuarzo entre la lámpara calefactora y la preforma para concentrar / enfocar la radiación IR.</a:t>
            </a:r>
          </a:p>
          <a:p>
            <a:endParaRPr lang="es-ES" sz="11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9" y="2233613"/>
            <a:ext cx="388937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Contribuye a solucionar los problemas de calentamiento, especialmente en la preforma debajo del cuell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Solo para la primera zo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Recomendado para asegurar la producción de botellas de </a:t>
            </a:r>
            <a:r>
              <a:rPr lang="es-ES" altLang="fr-FR" sz="1200" dirty="0" err="1"/>
              <a:t>rPET</a:t>
            </a:r>
            <a:r>
              <a:rPr lang="es-ES" altLang="fr-FR" sz="1200" dirty="0"/>
              <a:t> para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protección del cuello de la botella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robustez del proceso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asegurar una distribución óptima del material</a:t>
            </a:r>
            <a:endParaRPr lang="en-GB" altLang="fr-FR" sz="1200" b="1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>
                <a:solidFill>
                  <a:srgbClr val="000000"/>
                </a:solidFill>
              </a:rPr>
              <a:t>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MATRIX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</a:t>
            </a:r>
            <a:r>
              <a:rPr lang="en-US" sz="800" kern="0" dirty="0">
                <a:solidFill>
                  <a:srgbClr val="000000"/>
                </a:solidFill>
                <a:latin typeface="Arial"/>
              </a:rPr>
              <a:t>2032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A60B7FBB-FA71-4702-8BA4-3185203130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41</TotalTime>
  <Words>99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Mejorar la flexibilidad del proceso de la botell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5</cp:revision>
  <dcterms:created xsi:type="dcterms:W3CDTF">2018-02-10T17:04:39Z</dcterms:created>
  <dcterms:modified xsi:type="dcterms:W3CDTF">2021-02-04T16:2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